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42" r:id="rId2"/>
    <p:sldId id="346" r:id="rId3"/>
    <p:sldId id="347" r:id="rId4"/>
    <p:sldId id="343" r:id="rId5"/>
  </p:sldIdLst>
  <p:sldSz cx="9144000" cy="6858000" type="screen4x3"/>
  <p:notesSz cx="6811963" cy="9942513"/>
  <p:custDataLst>
    <p:tags r:id="rId8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FF33"/>
    <a:srgbClr val="CCFFCC"/>
    <a:srgbClr val="FFCCCC"/>
    <a:srgbClr val="CCFFFF"/>
    <a:srgbClr val="FFDE9B"/>
    <a:srgbClr val="FFFFCC"/>
    <a:srgbClr val="CC99FF"/>
    <a:srgbClr val="FF66FF"/>
    <a:srgbClr val="0000FF"/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25" autoAdjust="0"/>
    <p:restoredTop sz="94611" autoAdjust="0"/>
  </p:normalViewPr>
  <p:slideViewPr>
    <p:cSldViewPr snapToObjects="1" showGuides="1">
      <p:cViewPr varScale="1">
        <p:scale>
          <a:sx n="102" d="100"/>
          <a:sy n="102" d="100"/>
        </p:scale>
        <p:origin x="2046" y="108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3" d="2"/>
        <a:sy n="3" d="2"/>
      </p:scale>
      <p:origin x="-6" y="-18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92" d="100"/>
          <a:sy n="92" d="100"/>
        </p:scale>
        <p:origin x="-3516" y="-120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659D5-0D1A-411A-88F0-C332EAE16510}" type="datetimeFigureOut">
              <a:rPr lang="fr-CH" smtClean="0"/>
              <a:pPr/>
              <a:t>20.05.2026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CD7073-C49F-4B98-8663-A97FD1EB9EE6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10551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0.05.2026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22694"/>
            <a:ext cx="5449570" cy="447413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690981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ponts et chaussées </a:t>
            </a:r>
            <a:r>
              <a:rPr lang="fr-CH" sz="1000" b="0" i="0" dirty="0"/>
              <a:t>SPC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/>
              <a:t>Tiefbauamt</a:t>
            </a:r>
            <a:r>
              <a:rPr lang="fr-CH" sz="1000" b="0" i="0" dirty="0"/>
              <a:t> TBA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 l’aménagement, de l’environnement et des constructions</a:t>
            </a:r>
            <a:r>
              <a:rPr lang="fr-CH" sz="1000" b="1" dirty="0"/>
              <a:t> DAEC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Raumplanungs</a:t>
            </a:r>
            <a:r>
              <a:rPr lang="fr-CH" sz="1000" b="0" i="0" dirty="0"/>
              <a:t>-, </a:t>
            </a:r>
            <a:r>
              <a:rPr lang="fr-CH" sz="1000" b="0" i="0" dirty="0" err="1"/>
              <a:t>Umwelt</a:t>
            </a:r>
            <a:r>
              <a:rPr lang="fr-CH" sz="1000" b="0" i="0" dirty="0"/>
              <a:t>- </a:t>
            </a:r>
            <a:r>
              <a:rPr lang="fr-CH" sz="1000" b="0" i="0" dirty="0" err="1"/>
              <a:t>und</a:t>
            </a:r>
            <a:r>
              <a:rPr lang="fr-CH" sz="1000" b="0" i="0" dirty="0"/>
              <a:t> </a:t>
            </a:r>
            <a:r>
              <a:rPr lang="fr-CH" sz="1000" b="0" i="0" dirty="0" err="1"/>
              <a:t>Baudirektion</a:t>
            </a:r>
            <a:r>
              <a:rPr lang="fr-CH" sz="1000" b="0" i="0" dirty="0"/>
              <a:t> </a:t>
            </a:r>
            <a:r>
              <a:rPr lang="fr-CH" sz="1000" b="1" i="0" dirty="0"/>
              <a:t>RUB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400" y="6314400"/>
            <a:ext cx="529596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ponts</a:t>
            </a:r>
            <a:r>
              <a:rPr lang="fr-CH" sz="1000" b="1" baseline="0" dirty="0"/>
              <a:t> et chaussées</a:t>
            </a:r>
            <a:r>
              <a:rPr lang="fr-CH" sz="1000" b="1" dirty="0"/>
              <a:t> </a:t>
            </a:r>
            <a:r>
              <a:rPr lang="fr-CH" sz="1000" b="0" i="0" dirty="0"/>
              <a:t>SPC</a:t>
            </a:r>
            <a:endParaRPr lang="fr-CH" sz="1000" b="1" i="0" dirty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baseline="0" dirty="0"/>
              <a:t>31.3.2026 – </a:t>
            </a:r>
            <a:r>
              <a:rPr lang="fr-CH" sz="1000" b="0" i="0" baseline="0" dirty="0" err="1"/>
              <a:t>Einbau</a:t>
            </a:r>
            <a:r>
              <a:rPr lang="fr-CH" sz="1000" b="0" i="0" baseline="0" dirty="0"/>
              <a:t> </a:t>
            </a:r>
            <a:r>
              <a:rPr lang="fr-CH" sz="1000" b="0" i="0" baseline="0" dirty="0" err="1"/>
              <a:t>Randabschlüsse</a:t>
            </a:r>
            <a:r>
              <a:rPr lang="fr-CH" sz="1000" b="0" i="0" baseline="0" dirty="0"/>
              <a:t> </a:t>
            </a:r>
            <a:r>
              <a:rPr lang="fr-CH" sz="1000" b="0" i="0" baseline="0" dirty="0" err="1"/>
              <a:t>FriBord</a:t>
            </a:r>
            <a:r>
              <a:rPr lang="fr-CH" sz="1000" b="0" i="0" baseline="0" dirty="0"/>
              <a:t>, Illustration</a:t>
            </a:r>
            <a:endParaRPr lang="fr-CH" sz="1000" b="0" i="0" dirty="0"/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30373" y="332656"/>
            <a:ext cx="8534115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Einbau</a:t>
            </a:r>
            <a:r>
              <a:rPr lang="fr-CH" dirty="0"/>
              <a:t> </a:t>
            </a:r>
            <a:r>
              <a:rPr lang="fr-CH" dirty="0" err="1"/>
              <a:t>Randabschlüsse</a:t>
            </a:r>
            <a:r>
              <a:rPr lang="fr-CH" dirty="0"/>
              <a:t>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30373" y="1640607"/>
            <a:ext cx="8534115" cy="5642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2800" b="1" dirty="0"/>
              <a:t>Illustration</a:t>
            </a:r>
          </a:p>
          <a:p>
            <a:pPr algn="l">
              <a:lnSpc>
                <a:spcPts val="1900"/>
              </a:lnSpc>
              <a:spcAft>
                <a:spcPts val="600"/>
              </a:spcAft>
            </a:pPr>
            <a:endParaRPr lang="fr-CH" sz="1600" b="1" dirty="0"/>
          </a:p>
        </p:txBody>
      </p:sp>
    </p:spTree>
    <p:extLst>
      <p:ext uri="{BB962C8B-B14F-4D97-AF65-F5344CB8AC3E}">
        <p14:creationId xmlns:p14="http://schemas.microsoft.com/office/powerpoint/2010/main" val="918072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513" y="103758"/>
            <a:ext cx="8784976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Einbau</a:t>
            </a:r>
            <a:r>
              <a:rPr lang="fr-CH" dirty="0"/>
              <a:t> </a:t>
            </a:r>
            <a:r>
              <a:rPr lang="fr-CH" dirty="0" err="1"/>
              <a:t>Randabschlüsse</a:t>
            </a:r>
            <a:r>
              <a:rPr lang="fr-CH" dirty="0"/>
              <a:t>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31F9DAD-E266-516C-154C-01329520B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8720"/>
            <a:ext cx="9144000" cy="532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708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r>
              <a:rPr lang="fr-FR" dirty="0"/>
              <a:t>xx</a:t>
            </a:r>
            <a:br>
              <a:rPr dirty="0"/>
            </a:br>
            <a:r>
              <a:rPr dirty="0"/>
              <a:t>—</a:t>
            </a:r>
            <a:endParaRPr lang="de-DE" dirty="0"/>
          </a:p>
        </p:txBody>
      </p:sp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513" y="103758"/>
            <a:ext cx="8784976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Einbau</a:t>
            </a:r>
            <a:r>
              <a:rPr lang="fr-CH" dirty="0"/>
              <a:t> </a:t>
            </a:r>
            <a:r>
              <a:rPr lang="fr-CH" dirty="0" err="1"/>
              <a:t>Randabschlüsse</a:t>
            </a:r>
            <a:r>
              <a:rPr lang="fr-CH" dirty="0"/>
              <a:t>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5BC5AFB-62B7-BEC6-8317-FEA8FA25D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456" y="980728"/>
            <a:ext cx="8841023" cy="5099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503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71325" y="103758"/>
            <a:ext cx="8493163" cy="9489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Einbau</a:t>
            </a:r>
            <a:r>
              <a:rPr lang="fr-CH" dirty="0"/>
              <a:t> </a:t>
            </a:r>
            <a:r>
              <a:rPr lang="fr-CH" dirty="0" err="1"/>
              <a:t>Randabschlüsse</a:t>
            </a:r>
            <a:r>
              <a:rPr lang="fr-CH" dirty="0"/>
              <a:t> </a:t>
            </a:r>
            <a:r>
              <a:rPr lang="fr-CH" dirty="0" err="1"/>
              <a:t>FriBord</a:t>
            </a:r>
            <a:endParaRPr lang="fr-CH" dirty="0"/>
          </a:p>
          <a:p>
            <a:r>
              <a:rPr lang="fr-CH" dirty="0"/>
              <a:t>—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66030C5-5EAF-91F6-12EB-D24A8D3C0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739" y="908720"/>
            <a:ext cx="8113570" cy="3087616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0374" y="188640"/>
            <a:ext cx="8242300" cy="948978"/>
          </a:xfrm>
        </p:spPr>
        <p:txBody>
          <a:bodyPr/>
          <a:lstStyle/>
          <a:p>
            <a:br>
              <a:rPr dirty="0"/>
            </a:br>
            <a:endParaRPr lang="de-DE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0A5F338-BB9F-6700-85C2-53526FCEC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2969755" y="3419116"/>
            <a:ext cx="1051940" cy="222383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C10738C-38A8-334F-6EAA-4297F90ED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6009275" y="3431883"/>
            <a:ext cx="1085887" cy="223224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60BF663-A65A-560A-EC70-50CA72005C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4495198" y="3928262"/>
            <a:ext cx="1051942" cy="3422141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6463DF7-1B00-C6B1-3D33-17D51AEFE6C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845"/>
          <a:stretch/>
        </p:blipFill>
        <p:spPr>
          <a:xfrm rot="5400000">
            <a:off x="4492054" y="4141142"/>
            <a:ext cx="1051942" cy="836142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F9910FB6-1B40-35D1-9C0B-078BFD2EA395}"/>
              </a:ext>
            </a:extLst>
          </p:cNvPr>
          <p:cNvSpPr txBox="1"/>
          <p:nvPr/>
        </p:nvSpPr>
        <p:spPr>
          <a:xfrm>
            <a:off x="4743968" y="5517504"/>
            <a:ext cx="548112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 err="1"/>
              <a:t>reel</a:t>
            </a:r>
            <a:endParaRPr lang="fr-CH" sz="1600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E2F1770-5FA1-ACCC-BAFE-957F4C0A79EB}"/>
              </a:ext>
            </a:extLst>
          </p:cNvPr>
          <p:cNvSpPr txBox="1"/>
          <p:nvPr/>
        </p:nvSpPr>
        <p:spPr>
          <a:xfrm>
            <a:off x="4599953" y="4399550"/>
            <a:ext cx="836143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 err="1"/>
              <a:t>verformt</a:t>
            </a:r>
            <a:endParaRPr lang="fr-CH" sz="1600" dirty="0"/>
          </a:p>
        </p:txBody>
      </p:sp>
      <p:sp>
        <p:nvSpPr>
          <p:cNvPr id="18" name="Légende encadrée 1 6">
            <a:extLst>
              <a:ext uri="{FF2B5EF4-FFF2-40B4-BE49-F238E27FC236}">
                <a16:creationId xmlns:a16="http://schemas.microsoft.com/office/drawing/2014/main" id="{53BD683E-144A-71FF-58A7-84E486C0F9D1}"/>
              </a:ext>
            </a:extLst>
          </p:cNvPr>
          <p:cNvSpPr/>
          <p:nvPr/>
        </p:nvSpPr>
        <p:spPr>
          <a:xfrm>
            <a:off x="1381634" y="1238563"/>
            <a:ext cx="3478398" cy="246221"/>
          </a:xfrm>
          <a:prstGeom prst="borderCallout1">
            <a:avLst>
              <a:gd name="adj1" fmla="val 49817"/>
              <a:gd name="adj2" fmla="val 99919"/>
              <a:gd name="adj3" fmla="val 127138"/>
              <a:gd name="adj4" fmla="val 104035"/>
            </a:avLst>
          </a:prstGeom>
          <a:solidFill>
            <a:srgbClr val="FFCCCC"/>
          </a:solidFill>
          <a:ln w="12700">
            <a:solidFill>
              <a:srgbClr val="FF0000"/>
            </a:solidFill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fr-CH" sz="1600" dirty="0" err="1">
                <a:solidFill>
                  <a:schemeClr val="tx1"/>
                </a:solidFill>
                <a:latin typeface="+mj-lt"/>
              </a:rPr>
              <a:t>Konstante</a:t>
            </a:r>
            <a:r>
              <a:rPr lang="fr-CH" sz="1600" dirty="0">
                <a:solidFill>
                  <a:schemeClr val="tx1"/>
                </a:solidFill>
                <a:latin typeface="+mj-lt"/>
              </a:rPr>
              <a:t> </a:t>
            </a:r>
            <a:r>
              <a:rPr lang="fr-CH" sz="1600" dirty="0" err="1">
                <a:solidFill>
                  <a:schemeClr val="tx1"/>
                </a:solidFill>
                <a:latin typeface="+mj-lt"/>
              </a:rPr>
              <a:t>Breite</a:t>
            </a:r>
            <a:r>
              <a:rPr lang="fr-CH" sz="1600" dirty="0">
                <a:solidFill>
                  <a:schemeClr val="tx1"/>
                </a:solidFill>
                <a:latin typeface="+mj-lt"/>
              </a:rPr>
              <a:t>, </a:t>
            </a:r>
            <a:r>
              <a:rPr lang="fr-CH" sz="1600" dirty="0" err="1">
                <a:solidFill>
                  <a:schemeClr val="tx1"/>
                </a:solidFill>
                <a:latin typeface="+mj-lt"/>
              </a:rPr>
              <a:t>perfekte</a:t>
            </a:r>
            <a:r>
              <a:rPr lang="fr-CH" sz="1600" dirty="0">
                <a:solidFill>
                  <a:schemeClr val="tx1"/>
                </a:solidFill>
                <a:latin typeface="+mj-lt"/>
              </a:rPr>
              <a:t> </a:t>
            </a:r>
            <a:r>
              <a:rPr lang="fr-CH" sz="1600" dirty="0" err="1">
                <a:solidFill>
                  <a:schemeClr val="tx1"/>
                </a:solidFill>
                <a:latin typeface="+mj-lt"/>
              </a:rPr>
              <a:t>Ausrichtung</a:t>
            </a:r>
            <a:endParaRPr lang="fr-CH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Légende encadrée 1 6">
            <a:extLst>
              <a:ext uri="{FF2B5EF4-FFF2-40B4-BE49-F238E27FC236}">
                <a16:creationId xmlns:a16="http://schemas.microsoft.com/office/drawing/2014/main" id="{EDBBE80F-B080-2A57-7C89-793770FF1136}"/>
              </a:ext>
            </a:extLst>
          </p:cNvPr>
          <p:cNvSpPr/>
          <p:nvPr/>
        </p:nvSpPr>
        <p:spPr>
          <a:xfrm flipH="1">
            <a:off x="3779912" y="2495644"/>
            <a:ext cx="1772351" cy="246221"/>
          </a:xfrm>
          <a:prstGeom prst="borderCallout1">
            <a:avLst>
              <a:gd name="adj1" fmla="val 49817"/>
              <a:gd name="adj2" fmla="val 100187"/>
              <a:gd name="adj3" fmla="val 297996"/>
              <a:gd name="adj4" fmla="val 116220"/>
            </a:avLst>
          </a:prstGeom>
          <a:solidFill>
            <a:srgbClr val="CCFFCC"/>
          </a:solidFill>
          <a:ln w="12700">
            <a:solidFill>
              <a:srgbClr val="00B050"/>
            </a:solidFill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fr-CH" sz="1600" dirty="0" err="1">
                <a:solidFill>
                  <a:schemeClr val="tx1"/>
                </a:solidFill>
                <a:latin typeface="+mj-lt"/>
              </a:rPr>
              <a:t>Strassenrand</a:t>
            </a:r>
            <a:endParaRPr lang="fr-CH" sz="16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C23AD068-753A-B933-0985-BCCC641935BC}"/>
              </a:ext>
            </a:extLst>
          </p:cNvPr>
          <p:cNvCxnSpPr>
            <a:cxnSpLocks/>
          </p:cNvCxnSpPr>
          <p:nvPr/>
        </p:nvCxnSpPr>
        <p:spPr>
          <a:xfrm>
            <a:off x="179512" y="3284984"/>
            <a:ext cx="8231652" cy="13043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DC5EE0E2-39B7-3D4A-4910-0918B444B7C3}"/>
              </a:ext>
            </a:extLst>
          </p:cNvPr>
          <p:cNvCxnSpPr>
            <a:cxnSpLocks/>
          </p:cNvCxnSpPr>
          <p:nvPr/>
        </p:nvCxnSpPr>
        <p:spPr>
          <a:xfrm>
            <a:off x="2383806" y="4789339"/>
            <a:ext cx="2188194" cy="0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9DE8A987-A44D-5586-0E5E-6C6F29C5ED2D}"/>
              </a:ext>
            </a:extLst>
          </p:cNvPr>
          <p:cNvCxnSpPr>
            <a:cxnSpLocks/>
          </p:cNvCxnSpPr>
          <p:nvPr/>
        </p:nvCxnSpPr>
        <p:spPr>
          <a:xfrm>
            <a:off x="4607644" y="4789339"/>
            <a:ext cx="820760" cy="27884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229B55F1-D9C7-6ADB-3640-B81349F33D1A}"/>
              </a:ext>
            </a:extLst>
          </p:cNvPr>
          <p:cNvCxnSpPr>
            <a:cxnSpLocks/>
          </p:cNvCxnSpPr>
          <p:nvPr/>
        </p:nvCxnSpPr>
        <p:spPr>
          <a:xfrm flipV="1">
            <a:off x="5443787" y="4803281"/>
            <a:ext cx="2213691" cy="13942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Image 37">
            <a:extLst>
              <a:ext uri="{FF2B5EF4-FFF2-40B4-BE49-F238E27FC236}">
                <a16:creationId xmlns:a16="http://schemas.microsoft.com/office/drawing/2014/main" id="{45A56608-30B8-A981-8286-6EAD1A11A27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845"/>
          <a:stretch/>
        </p:blipFill>
        <p:spPr>
          <a:xfrm rot="16200000" flipH="1">
            <a:off x="1425787" y="4112964"/>
            <a:ext cx="1051942" cy="836142"/>
          </a:xfrm>
          <a:prstGeom prst="rect">
            <a:avLst/>
          </a:prstGeom>
        </p:spPr>
      </p:pic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E8A3F00C-3892-EE2A-29FA-7725FEF2C4EA}"/>
              </a:ext>
            </a:extLst>
          </p:cNvPr>
          <p:cNvCxnSpPr>
            <a:cxnSpLocks/>
          </p:cNvCxnSpPr>
          <p:nvPr/>
        </p:nvCxnSpPr>
        <p:spPr>
          <a:xfrm flipV="1">
            <a:off x="1533686" y="4803281"/>
            <a:ext cx="836143" cy="6971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" name="Image 42">
            <a:extLst>
              <a:ext uri="{FF2B5EF4-FFF2-40B4-BE49-F238E27FC236}">
                <a16:creationId xmlns:a16="http://schemas.microsoft.com/office/drawing/2014/main" id="{A99C5284-D335-5AAA-1273-6BD3606B2FD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5400000">
            <a:off x="7477987" y="4555463"/>
            <a:ext cx="1017921" cy="2221382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579977A4-94B4-7A8F-527C-93E57047219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5400000">
            <a:off x="7400262" y="4273149"/>
            <a:ext cx="1051941" cy="515776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4F9AB572-2D8F-C8EE-369B-F28CA640EC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946"/>
          <a:stretch/>
        </p:blipFill>
        <p:spPr>
          <a:xfrm rot="16200000" flipH="1">
            <a:off x="733662" y="4243005"/>
            <a:ext cx="1051941" cy="576062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CBF95346-66C0-7125-8E36-429A8D29AD0D}"/>
              </a:ext>
            </a:extLst>
          </p:cNvPr>
          <p:cNvSpPr txBox="1"/>
          <p:nvPr/>
        </p:nvSpPr>
        <p:spPr>
          <a:xfrm>
            <a:off x="7804230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37AC498B-E40E-B14F-8DC7-BABBFB37B06D}"/>
              </a:ext>
            </a:extLst>
          </p:cNvPr>
          <p:cNvSpPr txBox="1"/>
          <p:nvPr/>
        </p:nvSpPr>
        <p:spPr>
          <a:xfrm>
            <a:off x="1843733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7DB52534-0EA1-7C71-BF94-6AB0035E394A}"/>
              </a:ext>
            </a:extLst>
          </p:cNvPr>
          <p:cNvSpPr txBox="1"/>
          <p:nvPr/>
        </p:nvSpPr>
        <p:spPr>
          <a:xfrm>
            <a:off x="1137630" y="4403085"/>
            <a:ext cx="244004" cy="243656"/>
          </a:xfrm>
          <a:prstGeom prst="rect">
            <a:avLst/>
          </a:prstGeom>
          <a:solidFill>
            <a:srgbClr val="FFCCCC"/>
          </a:solidFill>
          <a:ln w="127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</a:pPr>
            <a:r>
              <a:rPr lang="fr-CH" sz="1600" dirty="0"/>
              <a:t>d</a:t>
            </a:r>
          </a:p>
        </p:txBody>
      </p: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9013F016-8A68-32DC-7C77-04D94462EA2C}"/>
              </a:ext>
            </a:extLst>
          </p:cNvPr>
          <p:cNvCxnSpPr>
            <a:cxnSpLocks/>
          </p:cNvCxnSpPr>
          <p:nvPr/>
        </p:nvCxnSpPr>
        <p:spPr>
          <a:xfrm>
            <a:off x="957624" y="4799944"/>
            <a:ext cx="597732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4FE8BFB6-55A6-690F-8330-444A0A95AA40}"/>
              </a:ext>
            </a:extLst>
          </p:cNvPr>
          <p:cNvCxnSpPr>
            <a:cxnSpLocks/>
          </p:cNvCxnSpPr>
          <p:nvPr/>
        </p:nvCxnSpPr>
        <p:spPr>
          <a:xfrm flipV="1">
            <a:off x="7676033" y="4799944"/>
            <a:ext cx="508088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AE9B012-5D47-BCD1-E41F-05C7333C96E0}"/>
              </a:ext>
            </a:extLst>
          </p:cNvPr>
          <p:cNvCxnSpPr>
            <a:cxnSpLocks/>
          </p:cNvCxnSpPr>
          <p:nvPr/>
        </p:nvCxnSpPr>
        <p:spPr>
          <a:xfrm>
            <a:off x="323528" y="4786844"/>
            <a:ext cx="597732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3B48017A-19A9-514E-A37C-486782BF2A32}"/>
              </a:ext>
            </a:extLst>
          </p:cNvPr>
          <p:cNvCxnSpPr>
            <a:cxnSpLocks/>
          </p:cNvCxnSpPr>
          <p:nvPr/>
        </p:nvCxnSpPr>
        <p:spPr>
          <a:xfrm flipV="1">
            <a:off x="8172400" y="4786844"/>
            <a:ext cx="508088" cy="10308"/>
          </a:xfrm>
          <a:prstGeom prst="line">
            <a:avLst/>
          </a:prstGeom>
          <a:ln w="38100">
            <a:solidFill>
              <a:srgbClr val="66FF33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592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46" grpId="0" animBg="1"/>
      <p:bldP spid="47" grpId="0" animBg="1"/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FFFF"/>
        </a:solidFill>
        <a:ln w="38100">
          <a:solidFill>
            <a:srgbClr val="0000FF"/>
          </a:solidFill>
        </a:ln>
        <a:effectLst/>
      </a:spPr>
      <a:bodyPr rtlCol="0" anchor="ctr"/>
      <a:lstStyle>
        <a:defPPr algn="l">
          <a:defRPr sz="1600" dirty="0" smtClean="0">
            <a:solidFill>
              <a:srgbClr val="0000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DE9B"/>
        </a:solidFill>
        <a:ln w="12700">
          <a:solidFill>
            <a:srgbClr val="FF0000"/>
          </a:solidFill>
        </a:ln>
      </a:spPr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defRPr sz="1600" b="1" dirty="0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_etat_de_fribourg</Template>
  <TotalTime>0</TotalTime>
  <Words>38</Words>
  <Application>Microsoft Office PowerPoint</Application>
  <PresentationFormat>Affichage à l'écran (4:3)</PresentationFormat>
  <Paragraphs>20</Paragraphs>
  <Slides>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9" baseType="lpstr">
      <vt:lpstr>Arial</vt:lpstr>
      <vt:lpstr>Calibri</vt:lpstr>
      <vt:lpstr>Lucida Grande</vt:lpstr>
      <vt:lpstr>pp_etat_de_fribourg</vt:lpstr>
      <vt:lpstr>think-cell Slide</vt:lpstr>
      <vt:lpstr>xx —</vt:lpstr>
      <vt:lpstr>xx —</vt:lpstr>
      <vt:lpstr>xx —</vt:lpstr>
      <vt:lpstr> 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Romanenscl</dc:creator>
  <cp:lastModifiedBy>Becker Raphaël</cp:lastModifiedBy>
  <cp:revision>117</cp:revision>
  <cp:lastPrinted>2018-05-22T14:30:32Z</cp:lastPrinted>
  <dcterms:created xsi:type="dcterms:W3CDTF">2010-11-05T09:37:31Z</dcterms:created>
  <dcterms:modified xsi:type="dcterms:W3CDTF">2026-05-20T06:32:11Z</dcterms:modified>
</cp:coreProperties>
</file>